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138" y="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2</c:f>
              <c:numCache>
                <c:formatCode>m/d/yyyy</c:formatCode>
                <c:ptCount val="21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  <c:pt idx="210">
                  <c:v>44287</c:v>
                </c:pt>
              </c:numCache>
            </c:numRef>
          </c:cat>
          <c:val>
            <c:numRef>
              <c:f>Sheet1!$D$2:$D$212</c:f>
              <c:numCache>
                <c:formatCode>#,##0</c:formatCode>
                <c:ptCount val="211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8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5</c:v>
                </c:pt>
                <c:pt idx="172">
                  <c:v>656</c:v>
                </c:pt>
                <c:pt idx="173">
                  <c:v>664</c:v>
                </c:pt>
                <c:pt idx="174">
                  <c:v>682</c:v>
                </c:pt>
                <c:pt idx="175">
                  <c:v>696</c:v>
                </c:pt>
                <c:pt idx="176">
                  <c:v>682</c:v>
                </c:pt>
                <c:pt idx="177">
                  <c:v>728</c:v>
                </c:pt>
                <c:pt idx="178">
                  <c:v>720</c:v>
                </c:pt>
                <c:pt idx="179">
                  <c:v>714</c:v>
                </c:pt>
                <c:pt idx="180">
                  <c:v>741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6</c:v>
                </c:pt>
                <c:pt idx="185">
                  <c:v>841</c:v>
                </c:pt>
                <c:pt idx="186">
                  <c:v>851</c:v>
                </c:pt>
                <c:pt idx="187">
                  <c:v>869</c:v>
                </c:pt>
                <c:pt idx="188">
                  <c:v>916</c:v>
                </c:pt>
                <c:pt idx="189">
                  <c:v>906</c:v>
                </c:pt>
                <c:pt idx="190">
                  <c:v>913</c:v>
                </c:pt>
                <c:pt idx="191">
                  <c:v>916</c:v>
                </c:pt>
                <c:pt idx="192">
                  <c:v>929</c:v>
                </c:pt>
                <c:pt idx="193">
                  <c:v>911</c:v>
                </c:pt>
                <c:pt idx="194">
                  <c:v>938</c:v>
                </c:pt>
                <c:pt idx="195">
                  <c:v>942</c:v>
                </c:pt>
                <c:pt idx="196">
                  <c:v>926</c:v>
                </c:pt>
                <c:pt idx="197">
                  <c:v>926</c:v>
                </c:pt>
                <c:pt idx="198">
                  <c:v>954</c:v>
                </c:pt>
                <c:pt idx="199">
                  <c:v>945</c:v>
                </c:pt>
                <c:pt idx="200">
                  <c:v>941</c:v>
                </c:pt>
                <c:pt idx="201">
                  <c:v>936</c:v>
                </c:pt>
                <c:pt idx="202">
                  <c:v>974</c:v>
                </c:pt>
                <c:pt idx="203">
                  <c:v>932</c:v>
                </c:pt>
                <c:pt idx="204">
                  <c:v>922</c:v>
                </c:pt>
                <c:pt idx="205">
                  <c:v>875</c:v>
                </c:pt>
                <c:pt idx="206">
                  <c:v>863</c:v>
                </c:pt>
                <c:pt idx="207">
                  <c:v>867</c:v>
                </c:pt>
                <c:pt idx="208">
                  <c:v>840</c:v>
                </c:pt>
                <c:pt idx="209">
                  <c:v>818</c:v>
                </c:pt>
                <c:pt idx="210" formatCode="General">
                  <c:v>7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04"/>
              <c:layout>
                <c:manualLayout>
                  <c:x val="1.7018871804808072E-2"/>
                  <c:y val="1.347171364440616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9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34A4-4779-8628-FCCB8697E4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12</c:f>
              <c:numCache>
                <c:formatCode>m/d/yyyy</c:formatCode>
                <c:ptCount val="21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  <c:pt idx="210">
                  <c:v>44287</c:v>
                </c:pt>
              </c:numCache>
            </c:numRef>
          </c:cat>
          <c:val>
            <c:numRef>
              <c:f>Sheet1!$B$2:$B$212</c:f>
              <c:numCache>
                <c:formatCode>#,##0</c:formatCode>
                <c:ptCount val="211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5">
                  <c:v>388</c:v>
                </c:pt>
                <c:pt idx="206">
                  <c:v>383</c:v>
                </c:pt>
                <c:pt idx="207">
                  <c:v>346</c:v>
                </c:pt>
                <c:pt idx="208">
                  <c:v>364</c:v>
                </c:pt>
                <c:pt idx="209">
                  <c:v>402</c:v>
                </c:pt>
                <c:pt idx="210" formatCode="General">
                  <c:v>3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2</c:f>
              <c:numCache>
                <c:formatCode>m/d/yyyy</c:formatCode>
                <c:ptCount val="21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  <c:pt idx="210">
                  <c:v>44287</c:v>
                </c:pt>
              </c:numCache>
            </c:numRef>
          </c:cat>
          <c:val>
            <c:numRef>
              <c:f>Sheet1!$C$2:$C$212</c:f>
              <c:numCache>
                <c:formatCode>General</c:formatCode>
                <c:ptCount val="2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2</c:f>
              <c:numCache>
                <c:formatCode>m/d/yyyy</c:formatCode>
                <c:ptCount val="21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  <c:pt idx="210">
                  <c:v>44287</c:v>
                </c:pt>
              </c:numCache>
            </c:numRef>
          </c:cat>
          <c:val>
            <c:numRef>
              <c:f>Sheet1!$D$2:$D$212</c:f>
              <c:numCache>
                <c:formatCode>#,##0</c:formatCode>
                <c:ptCount val="211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2</c:v>
                </c:pt>
                <c:pt idx="67">
                  <c:v>3348</c:v>
                </c:pt>
                <c:pt idx="68">
                  <c:v>3354</c:v>
                </c:pt>
                <c:pt idx="69">
                  <c:v>3292</c:v>
                </c:pt>
                <c:pt idx="70">
                  <c:v>3196</c:v>
                </c:pt>
                <c:pt idx="71">
                  <c:v>2968</c:v>
                </c:pt>
                <c:pt idx="72">
                  <c:v>2891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5</c:v>
                </c:pt>
                <c:pt idx="89">
                  <c:v>1545</c:v>
                </c:pt>
                <c:pt idx="90">
                  <c:v>1541</c:v>
                </c:pt>
                <c:pt idx="91">
                  <c:v>1531</c:v>
                </c:pt>
                <c:pt idx="92">
                  <c:v>1472</c:v>
                </c:pt>
                <c:pt idx="93">
                  <c:v>1465</c:v>
                </c:pt>
                <c:pt idx="94">
                  <c:v>1495</c:v>
                </c:pt>
                <c:pt idx="95">
                  <c:v>1480</c:v>
                </c:pt>
                <c:pt idx="96">
                  <c:v>1507</c:v>
                </c:pt>
                <c:pt idx="97">
                  <c:v>1556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90</c:v>
                </c:pt>
                <c:pt idx="107">
                  <c:v>1652</c:v>
                </c:pt>
                <c:pt idx="108">
                  <c:v>1655</c:v>
                </c:pt>
                <c:pt idx="109">
                  <c:v>1647</c:v>
                </c:pt>
                <c:pt idx="110">
                  <c:v>1682</c:v>
                </c:pt>
                <c:pt idx="111">
                  <c:v>1682</c:v>
                </c:pt>
                <c:pt idx="112">
                  <c:v>1715</c:v>
                </c:pt>
                <c:pt idx="113">
                  <c:v>1738</c:v>
                </c:pt>
                <c:pt idx="114">
                  <c:v>1646</c:v>
                </c:pt>
                <c:pt idx="115">
                  <c:v>1748</c:v>
                </c:pt>
                <c:pt idx="116">
                  <c:v>1861</c:v>
                </c:pt>
                <c:pt idx="117">
                  <c:v>1985</c:v>
                </c:pt>
                <c:pt idx="118">
                  <c:v>2295</c:v>
                </c:pt>
                <c:pt idx="119">
                  <c:v>2353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7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7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7</c:v>
                </c:pt>
                <c:pt idx="143">
                  <c:v>2554</c:v>
                </c:pt>
                <c:pt idx="144">
                  <c:v>2519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3</c:v>
                </c:pt>
                <c:pt idx="151">
                  <c:v>2378</c:v>
                </c:pt>
                <c:pt idx="152">
                  <c:v>2374</c:v>
                </c:pt>
                <c:pt idx="153">
                  <c:v>2459</c:v>
                </c:pt>
                <c:pt idx="154">
                  <c:v>2395</c:v>
                </c:pt>
                <c:pt idx="155">
                  <c:v>2417</c:v>
                </c:pt>
                <c:pt idx="156">
                  <c:v>2397</c:v>
                </c:pt>
                <c:pt idx="157">
                  <c:v>2372</c:v>
                </c:pt>
                <c:pt idx="158">
                  <c:v>2352</c:v>
                </c:pt>
                <c:pt idx="159">
                  <c:v>2414</c:v>
                </c:pt>
                <c:pt idx="160">
                  <c:v>2477</c:v>
                </c:pt>
                <c:pt idx="161">
                  <c:v>2492</c:v>
                </c:pt>
                <c:pt idx="162">
                  <c:v>2421</c:v>
                </c:pt>
                <c:pt idx="163">
                  <c:v>2457</c:v>
                </c:pt>
                <c:pt idx="164">
                  <c:v>2409</c:v>
                </c:pt>
                <c:pt idx="165">
                  <c:v>2474</c:v>
                </c:pt>
                <c:pt idx="166">
                  <c:v>2591</c:v>
                </c:pt>
                <c:pt idx="167">
                  <c:v>2623</c:v>
                </c:pt>
                <c:pt idx="168">
                  <c:v>2655</c:v>
                </c:pt>
                <c:pt idx="169">
                  <c:v>2721</c:v>
                </c:pt>
                <c:pt idx="170">
                  <c:v>2762</c:v>
                </c:pt>
                <c:pt idx="171">
                  <c:v>2680</c:v>
                </c:pt>
                <c:pt idx="172">
                  <c:v>2685</c:v>
                </c:pt>
                <c:pt idx="173">
                  <c:v>2808</c:v>
                </c:pt>
                <c:pt idx="174">
                  <c:v>3001</c:v>
                </c:pt>
                <c:pt idx="175">
                  <c:v>3021</c:v>
                </c:pt>
                <c:pt idx="176">
                  <c:v>3034</c:v>
                </c:pt>
                <c:pt idx="177">
                  <c:v>3047</c:v>
                </c:pt>
                <c:pt idx="178">
                  <c:v>3131</c:v>
                </c:pt>
                <c:pt idx="179">
                  <c:v>3238</c:v>
                </c:pt>
                <c:pt idx="180">
                  <c:v>3379</c:v>
                </c:pt>
                <c:pt idx="181">
                  <c:v>3585</c:v>
                </c:pt>
                <c:pt idx="182">
                  <c:v>3629</c:v>
                </c:pt>
                <c:pt idx="183">
                  <c:v>3603</c:v>
                </c:pt>
                <c:pt idx="184">
                  <c:v>3687</c:v>
                </c:pt>
                <c:pt idx="185">
                  <c:v>3709</c:v>
                </c:pt>
                <c:pt idx="186">
                  <c:v>3792</c:v>
                </c:pt>
                <c:pt idx="187">
                  <c:v>3879</c:v>
                </c:pt>
                <c:pt idx="188">
                  <c:v>3925</c:v>
                </c:pt>
                <c:pt idx="189">
                  <c:v>3943</c:v>
                </c:pt>
                <c:pt idx="190">
                  <c:v>3952</c:v>
                </c:pt>
                <c:pt idx="191">
                  <c:v>3927</c:v>
                </c:pt>
                <c:pt idx="192">
                  <c:v>3860</c:v>
                </c:pt>
                <c:pt idx="193">
                  <c:v>3969</c:v>
                </c:pt>
                <c:pt idx="194">
                  <c:v>4038</c:v>
                </c:pt>
                <c:pt idx="195">
                  <c:v>4186</c:v>
                </c:pt>
                <c:pt idx="196">
                  <c:v>4106</c:v>
                </c:pt>
                <c:pt idx="197">
                  <c:v>4032</c:v>
                </c:pt>
                <c:pt idx="198">
                  <c:v>4008</c:v>
                </c:pt>
                <c:pt idx="199">
                  <c:v>3798</c:v>
                </c:pt>
                <c:pt idx="200">
                  <c:v>3724</c:v>
                </c:pt>
                <c:pt idx="201">
                  <c:v>3803</c:v>
                </c:pt>
                <c:pt idx="202">
                  <c:v>3827</c:v>
                </c:pt>
                <c:pt idx="203">
                  <c:v>3693</c:v>
                </c:pt>
                <c:pt idx="204">
                  <c:v>3547</c:v>
                </c:pt>
                <c:pt idx="205">
                  <c:v>3358</c:v>
                </c:pt>
                <c:pt idx="206">
                  <c:v>3389</c:v>
                </c:pt>
                <c:pt idx="207">
                  <c:v>3356</c:v>
                </c:pt>
                <c:pt idx="208">
                  <c:v>3267</c:v>
                </c:pt>
                <c:pt idx="209">
                  <c:v>3154</c:v>
                </c:pt>
                <c:pt idx="210">
                  <c:v>29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04"/>
              <c:layout>
                <c:manualLayout>
                  <c:x val="-2.1464239731558414E-2"/>
                  <c:y val="-0.11675485158485345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 03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426-4211-B96F-F5FEAD5E2B1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12</c:f>
              <c:numCache>
                <c:formatCode>m/d/yyyy</c:formatCode>
                <c:ptCount val="21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  <c:pt idx="210">
                  <c:v>44287</c:v>
                </c:pt>
              </c:numCache>
            </c:numRef>
          </c:cat>
          <c:val>
            <c:numRef>
              <c:f>Sheet1!$B$2:$B$212</c:f>
              <c:numCache>
                <c:formatCode>#,##0</c:formatCode>
                <c:ptCount val="211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5">
                  <c:v>5577</c:v>
                </c:pt>
                <c:pt idx="206">
                  <c:v>5461</c:v>
                </c:pt>
                <c:pt idx="207">
                  <c:v>5550</c:v>
                </c:pt>
                <c:pt idx="208">
                  <c:v>5584</c:v>
                </c:pt>
                <c:pt idx="209">
                  <c:v>5620</c:v>
                </c:pt>
                <c:pt idx="210">
                  <c:v>60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2</c:f>
              <c:numCache>
                <c:formatCode>m/d/yyyy</c:formatCode>
                <c:ptCount val="21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  <c:pt idx="210">
                  <c:v>44287</c:v>
                </c:pt>
              </c:numCache>
            </c:numRef>
          </c:cat>
          <c:val>
            <c:numRef>
              <c:f>Sheet1!$C$2:$C$212</c:f>
              <c:numCache>
                <c:formatCode>General</c:formatCode>
                <c:ptCount val="2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2</c:f>
              <c:numCache>
                <c:formatCode>m/d/yyyy</c:formatCode>
                <c:ptCount val="21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  <c:pt idx="210">
                  <c:v>44287</c:v>
                </c:pt>
              </c:numCache>
            </c:numRef>
          </c:cat>
          <c:val>
            <c:numRef>
              <c:f>Sheet1!$D$2:$D$212</c:f>
              <c:numCache>
                <c:formatCode>#,##0</c:formatCode>
                <c:ptCount val="211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0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4</c:v>
                </c:pt>
                <c:pt idx="91">
                  <c:v>726</c:v>
                </c:pt>
                <c:pt idx="92">
                  <c:v>710</c:v>
                </c:pt>
                <c:pt idx="93">
                  <c:v>712</c:v>
                </c:pt>
                <c:pt idx="94">
                  <c:v>708</c:v>
                </c:pt>
                <c:pt idx="95">
                  <c:v>684</c:v>
                </c:pt>
                <c:pt idx="96">
                  <c:v>671</c:v>
                </c:pt>
                <c:pt idx="97">
                  <c:v>709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2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1</c:v>
                </c:pt>
                <c:pt idx="110">
                  <c:v>751</c:v>
                </c:pt>
                <c:pt idx="111">
                  <c:v>761</c:v>
                </c:pt>
                <c:pt idx="112">
                  <c:v>766</c:v>
                </c:pt>
                <c:pt idx="113">
                  <c:v>776</c:v>
                </c:pt>
                <c:pt idx="114">
                  <c:v>745</c:v>
                </c:pt>
                <c:pt idx="115">
                  <c:v>766</c:v>
                </c:pt>
                <c:pt idx="116">
                  <c:v>804</c:v>
                </c:pt>
                <c:pt idx="117">
                  <c:v>845</c:v>
                </c:pt>
                <c:pt idx="118">
                  <c:v>905</c:v>
                </c:pt>
                <c:pt idx="119">
                  <c:v>940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9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7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6</c:v>
                </c:pt>
                <c:pt idx="166">
                  <c:v>1147</c:v>
                </c:pt>
                <c:pt idx="167">
                  <c:v>1170</c:v>
                </c:pt>
                <c:pt idx="168">
                  <c:v>1214</c:v>
                </c:pt>
                <c:pt idx="169">
                  <c:v>1242</c:v>
                </c:pt>
                <c:pt idx="170">
                  <c:v>1267</c:v>
                </c:pt>
                <c:pt idx="171">
                  <c:v>1270</c:v>
                </c:pt>
                <c:pt idx="172">
                  <c:v>1271</c:v>
                </c:pt>
                <c:pt idx="173">
                  <c:v>1282</c:v>
                </c:pt>
                <c:pt idx="174">
                  <c:v>1364</c:v>
                </c:pt>
                <c:pt idx="175">
                  <c:v>1393</c:v>
                </c:pt>
                <c:pt idx="176">
                  <c:v>1410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4</c:v>
                </c:pt>
                <c:pt idx="181">
                  <c:v>1587</c:v>
                </c:pt>
                <c:pt idx="182">
                  <c:v>1599</c:v>
                </c:pt>
                <c:pt idx="183">
                  <c:v>1625</c:v>
                </c:pt>
                <c:pt idx="184">
                  <c:v>1650</c:v>
                </c:pt>
                <c:pt idx="185">
                  <c:v>1670</c:v>
                </c:pt>
                <c:pt idx="186">
                  <c:v>1673</c:v>
                </c:pt>
                <c:pt idx="187">
                  <c:v>1676</c:v>
                </c:pt>
                <c:pt idx="188">
                  <c:v>1770</c:v>
                </c:pt>
                <c:pt idx="189">
                  <c:v>1798</c:v>
                </c:pt>
                <c:pt idx="190">
                  <c:v>1829</c:v>
                </c:pt>
                <c:pt idx="191">
                  <c:v>1819</c:v>
                </c:pt>
                <c:pt idx="192">
                  <c:v>1835</c:v>
                </c:pt>
                <c:pt idx="193">
                  <c:v>1784</c:v>
                </c:pt>
                <c:pt idx="194">
                  <c:v>1831</c:v>
                </c:pt>
                <c:pt idx="195">
                  <c:v>1889</c:v>
                </c:pt>
                <c:pt idx="196">
                  <c:v>1894</c:v>
                </c:pt>
                <c:pt idx="197">
                  <c:v>1864</c:v>
                </c:pt>
                <c:pt idx="198">
                  <c:v>1864</c:v>
                </c:pt>
                <c:pt idx="199">
                  <c:v>1824</c:v>
                </c:pt>
                <c:pt idx="200">
                  <c:v>1788</c:v>
                </c:pt>
                <c:pt idx="201">
                  <c:v>1811</c:v>
                </c:pt>
                <c:pt idx="202">
                  <c:v>1826</c:v>
                </c:pt>
                <c:pt idx="203">
                  <c:v>1782</c:v>
                </c:pt>
                <c:pt idx="204">
                  <c:v>1748</c:v>
                </c:pt>
                <c:pt idx="205">
                  <c:v>1649</c:v>
                </c:pt>
                <c:pt idx="206">
                  <c:v>1665</c:v>
                </c:pt>
                <c:pt idx="207">
                  <c:v>1672</c:v>
                </c:pt>
                <c:pt idx="208">
                  <c:v>1616</c:v>
                </c:pt>
                <c:pt idx="209">
                  <c:v>1565</c:v>
                </c:pt>
                <c:pt idx="210">
                  <c:v>1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62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F76F-45D2-9A7C-7B20A9C817DA}"/>
                </c:ext>
              </c:extLst>
            </c:dLbl>
            <c:dLbl>
              <c:idx val="183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76F-45D2-9A7C-7B20A9C817DA}"/>
                </c:ext>
              </c:extLst>
            </c:dLbl>
            <c:dLbl>
              <c:idx val="204"/>
              <c:layout>
                <c:manualLayout>
                  <c:x val="-3.8853465836229228E-2"/>
                  <c:y val="-0.2963777001769356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 15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F76F-45D2-9A7C-7B20A9C817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12</c:f>
              <c:numCache>
                <c:formatCode>m/d/yyyy</c:formatCode>
                <c:ptCount val="21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  <c:pt idx="210">
                  <c:v>44287</c:v>
                </c:pt>
              </c:numCache>
            </c:numRef>
          </c:cat>
          <c:val>
            <c:numRef>
              <c:f>Sheet1!$B$2:$B$212</c:f>
              <c:numCache>
                <c:formatCode>#,##0</c:formatCode>
                <c:ptCount val="211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5">
                  <c:v>1068</c:v>
                </c:pt>
                <c:pt idx="206">
                  <c:v>1080</c:v>
                </c:pt>
                <c:pt idx="207">
                  <c:v>1032</c:v>
                </c:pt>
                <c:pt idx="208">
                  <c:v>1073</c:v>
                </c:pt>
                <c:pt idx="209">
                  <c:v>1124</c:v>
                </c:pt>
                <c:pt idx="210">
                  <c:v>11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2</c:f>
              <c:numCache>
                <c:formatCode>m/d/yyyy</c:formatCode>
                <c:ptCount val="21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  <c:pt idx="210">
                  <c:v>44287</c:v>
                </c:pt>
              </c:numCache>
            </c:numRef>
          </c:cat>
          <c:val>
            <c:numRef>
              <c:f>Sheet1!$C$2:$C$212</c:f>
              <c:numCache>
                <c:formatCode>General</c:formatCode>
                <c:ptCount val="2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12</c:f>
              <c:numCache>
                <c:formatCode>m/d/yyyy</c:formatCode>
                <c:ptCount val="21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  <c:pt idx="210">
                  <c:v>44287</c:v>
                </c:pt>
              </c:numCache>
            </c:numRef>
          </c:cat>
          <c:val>
            <c:numRef>
              <c:f>Sheet1!$D$2:$D$212</c:f>
              <c:numCache>
                <c:formatCode>#,##0</c:formatCode>
                <c:ptCount val="2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1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1</c:v>
                </c:pt>
                <c:pt idx="186">
                  <c:v>22</c:v>
                </c:pt>
                <c:pt idx="187">
                  <c:v>23</c:v>
                </c:pt>
                <c:pt idx="188">
                  <c:v>31</c:v>
                </c:pt>
                <c:pt idx="189">
                  <c:v>26</c:v>
                </c:pt>
                <c:pt idx="190">
                  <c:v>31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5" formatCode="General">
                  <c:v>29</c:v>
                </c:pt>
                <c:pt idx="206" formatCode="General">
                  <c:v>27</c:v>
                </c:pt>
                <c:pt idx="207" formatCode="General">
                  <c:v>29</c:v>
                </c:pt>
                <c:pt idx="208" formatCode="General">
                  <c:v>29</c:v>
                </c:pt>
                <c:pt idx="209" formatCode="General">
                  <c:v>26</c:v>
                </c:pt>
                <c:pt idx="210" formatCode="General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04"/>
              <c:layout>
                <c:manualLayout>
                  <c:x val="0"/>
                  <c:y val="-0.10777370915524929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122E-499E-A8B7-2F9BE13ADEE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12</c:f>
              <c:numCache>
                <c:formatCode>m/d/yyyy</c:formatCode>
                <c:ptCount val="21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  <c:pt idx="210">
                  <c:v>44287</c:v>
                </c:pt>
              </c:numCache>
            </c:numRef>
          </c:cat>
          <c:val>
            <c:numRef>
              <c:f>Sheet1!$B$2:$B$212</c:f>
              <c:numCache>
                <c:formatCode>#,##0</c:formatCode>
                <c:ptCount val="211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5" formatCode="General">
                  <c:v>28</c:v>
                </c:pt>
                <c:pt idx="206" formatCode="General">
                  <c:v>27</c:v>
                </c:pt>
                <c:pt idx="207" formatCode="General">
                  <c:v>28</c:v>
                </c:pt>
                <c:pt idx="208" formatCode="General">
                  <c:v>30</c:v>
                </c:pt>
                <c:pt idx="209" formatCode="General">
                  <c:v>32</c:v>
                </c:pt>
                <c:pt idx="210" formatCode="General">
                  <c:v>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12</c:f>
              <c:numCache>
                <c:formatCode>m/d/yyyy</c:formatCode>
                <c:ptCount val="21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2</c:v>
                </c:pt>
                <c:pt idx="206">
                  <c:v>44283</c:v>
                </c:pt>
                <c:pt idx="207">
                  <c:v>44284</c:v>
                </c:pt>
                <c:pt idx="208">
                  <c:v>44285</c:v>
                </c:pt>
                <c:pt idx="209">
                  <c:v>44286</c:v>
                </c:pt>
                <c:pt idx="210">
                  <c:v>44287</c:v>
                </c:pt>
              </c:numCache>
            </c:numRef>
          </c:cat>
          <c:val>
            <c:numRef>
              <c:f>Sheet1!$C$2:$C$212</c:f>
              <c:numCache>
                <c:formatCode>General</c:formatCode>
                <c:ptCount val="2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2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2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2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02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441277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0391928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77743456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37273995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0159021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*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1CC2D9D8-E40E-4511-ACEC-155C504D6F73}"/>
              </a:ext>
            </a:extLst>
          </p:cNvPr>
          <p:cNvSpPr txBox="1"/>
          <p:nvPr/>
        </p:nvSpPr>
        <p:spPr>
          <a:xfrm>
            <a:off x="199580" y="6459955"/>
            <a:ext cx="19784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/>
              <a:t>* Včetně </a:t>
            </a:r>
            <a:r>
              <a:rPr lang="cs-CZ" sz="1600" dirty="0" err="1"/>
              <a:t>reprofilizace</a:t>
            </a: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7606249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31</TotalTime>
  <Words>1049</Words>
  <Application>Microsoft Office PowerPoint</Application>
  <PresentationFormat>Širokoúhlá obrazovka</PresentationFormat>
  <Paragraphs>454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Talábová Adriana Bc.</cp:lastModifiedBy>
  <cp:revision>578</cp:revision>
  <dcterms:created xsi:type="dcterms:W3CDTF">2020-08-08T14:25:07Z</dcterms:created>
  <dcterms:modified xsi:type="dcterms:W3CDTF">2021-04-02T03:29:36Z</dcterms:modified>
</cp:coreProperties>
</file>